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</p:sldMasterIdLst>
  <p:notesMasterIdLst>
    <p:notesMasterId r:id="rId22"/>
  </p:notesMasterIdLst>
  <p:sldIdLst>
    <p:sldId id="256" r:id="rId2"/>
    <p:sldId id="258" r:id="rId3"/>
    <p:sldId id="257" r:id="rId4"/>
    <p:sldId id="259" r:id="rId5"/>
    <p:sldId id="261" r:id="rId6"/>
    <p:sldId id="260" r:id="rId7"/>
    <p:sldId id="262" r:id="rId8"/>
    <p:sldId id="263" r:id="rId9"/>
    <p:sldId id="264" r:id="rId10"/>
    <p:sldId id="267" r:id="rId11"/>
    <p:sldId id="274" r:id="rId12"/>
    <p:sldId id="275" r:id="rId13"/>
    <p:sldId id="265" r:id="rId14"/>
    <p:sldId id="266" r:id="rId15"/>
    <p:sldId id="273" r:id="rId16"/>
    <p:sldId id="268" r:id="rId17"/>
    <p:sldId id="272" r:id="rId18"/>
    <p:sldId id="269" r:id="rId19"/>
    <p:sldId id="270" r:id="rId20"/>
    <p:sldId id="271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A8E501-F778-4AD5-97DB-36AFB5376441}">
          <p14:sldIdLst>
            <p14:sldId id="256"/>
            <p14:sldId id="258"/>
            <p14:sldId id="257"/>
            <p14:sldId id="259"/>
            <p14:sldId id="261"/>
            <p14:sldId id="260"/>
            <p14:sldId id="262"/>
            <p14:sldId id="263"/>
            <p14:sldId id="264"/>
            <p14:sldId id="267"/>
            <p14:sldId id="274"/>
            <p14:sldId id="275"/>
            <p14:sldId id="265"/>
            <p14:sldId id="266"/>
            <p14:sldId id="273"/>
            <p14:sldId id="268"/>
            <p14:sldId id="272"/>
            <p14:sldId id="269"/>
            <p14:sldId id="270"/>
            <p14:sldId id="2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  <a:srgbClr val="F77C2D"/>
    <a:srgbClr val="062745"/>
    <a:srgbClr val="000066"/>
    <a:srgbClr val="1C1C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82" autoAdjust="0"/>
    <p:restoredTop sz="94994" autoAdjust="0"/>
  </p:normalViewPr>
  <p:slideViewPr>
    <p:cSldViewPr snapToGrid="0">
      <p:cViewPr varScale="1">
        <p:scale>
          <a:sx n="135" d="100"/>
          <a:sy n="135" d="100"/>
        </p:scale>
        <p:origin x="120" y="4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BDF17-614F-46DD-ACF4-57229D63E37D}" type="datetimeFigureOut">
              <a:rPr lang="en-US" smtClean="0"/>
              <a:t>4/2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0C0743-FAF1-45D4-85C3-261F3618A2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670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1" y="0"/>
            <a:ext cx="6217920" cy="68580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932892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3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Bookman Old Style" panose="02050604050505020204" pitchFamily="18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Bookman Old Style" panose="02050604050505020204" pitchFamily="18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latin typeface="Bookman Old Style" panose="02050604050505020204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05155" y="144992"/>
            <a:ext cx="10668000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2560E32-31DF-4392-9FF6-86851F36D74D}"/>
              </a:ext>
            </a:extLst>
          </p:cNvPr>
          <p:cNvCxnSpPr/>
          <p:nvPr userDrawn="1"/>
        </p:nvCxnSpPr>
        <p:spPr>
          <a:xfrm>
            <a:off x="205155" y="541867"/>
            <a:ext cx="102357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780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A87C45-C217-4B3C-9633-17AC387495A2}"/>
              </a:ext>
            </a:extLst>
          </p:cNvPr>
          <p:cNvSpPr/>
          <p:nvPr userDrawn="1"/>
        </p:nvSpPr>
        <p:spPr>
          <a:xfrm>
            <a:off x="0" y="0"/>
            <a:ext cx="2286000" cy="68580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649159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8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872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796445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7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67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2909696"/>
            <a:ext cx="12192000" cy="1038608"/>
          </a:xfrm>
          <a:noFill/>
          <a:ln>
            <a:noFill/>
          </a:ln>
        </p:spPr>
        <p:txBody>
          <a:bodyPr anchor="ctr">
            <a:noAutofit/>
          </a:bodyPr>
          <a:lstStyle>
            <a:lvl1pPr marL="457200" indent="0" algn="l">
              <a:defRPr sz="3667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Bookman Old Style" panose="02050604050505020204" pitchFamily="18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604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058619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3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+mn-lt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5155" y="144992"/>
            <a:ext cx="11720145" cy="396875"/>
          </a:xfrm>
        </p:spPr>
        <p:txBody>
          <a:bodyPr>
            <a:normAutofit/>
          </a:bodyPr>
          <a:lstStyle>
            <a:lvl1pPr>
              <a:defRPr sz="2133" b="0" i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348" y="38629"/>
            <a:ext cx="85651" cy="609600"/>
          </a:xfrm>
          <a:prstGeom prst="rect">
            <a:avLst/>
          </a:prstGeom>
          <a:solidFill>
            <a:srgbClr val="0052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3"/>
          </a:p>
        </p:txBody>
      </p:sp>
    </p:spTree>
    <p:extLst>
      <p:ext uri="{BB962C8B-B14F-4D97-AF65-F5344CB8AC3E}">
        <p14:creationId xmlns:p14="http://schemas.microsoft.com/office/powerpoint/2010/main" val="3986676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3AE34E5-CAD8-444D-BA96-0F14D9BEE815}"/>
              </a:ext>
            </a:extLst>
          </p:cNvPr>
          <p:cNvSpPr/>
          <p:nvPr userDrawn="1"/>
        </p:nvSpPr>
        <p:spPr>
          <a:xfrm>
            <a:off x="5974080" y="0"/>
            <a:ext cx="6217920" cy="68580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140640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7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Bookman Old Style" panose="02050604050505020204" pitchFamily="18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Bookman Old Style" panose="02050604050505020204" pitchFamily="18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latin typeface="Bookman Old Style" panose="02050604050505020204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05155" y="144992"/>
            <a:ext cx="10668000" cy="396875"/>
          </a:xfrm>
        </p:spPr>
        <p:txBody>
          <a:bodyPr>
            <a:normAutofit/>
          </a:bodyPr>
          <a:lstStyle>
            <a:lvl1pPr>
              <a:defRPr sz="2133" b="0" i="1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4A9AEDF-A0C4-43FC-A604-ABE52F784AC7}"/>
              </a:ext>
            </a:extLst>
          </p:cNvPr>
          <p:cNvCxnSpPr/>
          <p:nvPr userDrawn="1"/>
        </p:nvCxnSpPr>
        <p:spPr>
          <a:xfrm>
            <a:off x="205155" y="541867"/>
            <a:ext cx="102357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6297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67615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-1" y="0"/>
            <a:ext cx="9006703" cy="6858000"/>
          </a:xfrm>
          <a:prstGeom prst="homePlate">
            <a:avLst>
              <a:gd name="adj" fmla="val 952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Bookman Old Style" panose="02050604050505020204" pitchFamily="18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latin typeface="Bookman Old Style" panose="02050604050505020204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Bookman Old Style" panose="02050604050505020204" pitchFamily="18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5155" y="144992"/>
            <a:ext cx="7494477" cy="396875"/>
          </a:xfrm>
        </p:spPr>
        <p:txBody>
          <a:bodyPr>
            <a:normAutofit/>
          </a:bodyPr>
          <a:lstStyle>
            <a:lvl1pPr>
              <a:defRPr sz="2133" b="0" i="1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E03EC26-7856-4FEB-B99B-1998352E5098}"/>
              </a:ext>
            </a:extLst>
          </p:cNvPr>
          <p:cNvCxnSpPr/>
          <p:nvPr userDrawn="1"/>
        </p:nvCxnSpPr>
        <p:spPr>
          <a:xfrm>
            <a:off x="205155" y="541867"/>
            <a:ext cx="102357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876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8640075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0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0" y="0"/>
            <a:ext cx="3971365" cy="6858000"/>
          </a:xfrm>
          <a:prstGeom prst="homePlate">
            <a:avLst>
              <a:gd name="adj" fmla="val 21375"/>
            </a:avLst>
          </a:prstGeom>
          <a:solidFill>
            <a:srgbClr val="062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169" y="3124731"/>
            <a:ext cx="3329483" cy="608541"/>
          </a:xfrm>
        </p:spPr>
        <p:txBody>
          <a:bodyPr>
            <a:normAutofit/>
          </a:bodyPr>
          <a:lstStyle>
            <a:lvl1pPr>
              <a:defRPr sz="2500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latin typeface="Bookman Old Style" panose="02050604050505020204" pitchFamily="18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latin typeface="Bookman Old Style" panose="02050604050505020204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tx1"/>
                </a:solidFill>
                <a:latin typeface="Bookman Old Style" panose="02050604050505020204" pitchFamily="18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262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23400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39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86197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0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67A594-8912-4D4F-AC19-FC0EE0FEC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55" y="144992"/>
            <a:ext cx="10668000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55662CF-679F-45A0-93F0-AD4A9145A61E}"/>
              </a:ext>
            </a:extLst>
          </p:cNvPr>
          <p:cNvCxnSpPr/>
          <p:nvPr userDrawn="1"/>
        </p:nvCxnSpPr>
        <p:spPr>
          <a:xfrm>
            <a:off x="205155" y="541867"/>
            <a:ext cx="102357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1693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A87C45-C217-4B3C-9633-17AC387495A2}"/>
              </a:ext>
            </a:extLst>
          </p:cNvPr>
          <p:cNvSpPr/>
          <p:nvPr userDrawn="1"/>
        </p:nvSpPr>
        <p:spPr>
          <a:xfrm>
            <a:off x="8525989" y="0"/>
            <a:ext cx="3657600" cy="68580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453311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7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905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6D263A-0D30-4ABC-B0CF-FBD0C35484B9}"/>
              </a:ext>
            </a:extLst>
          </p:cNvPr>
          <p:cNvSpPr/>
          <p:nvPr userDrawn="1"/>
        </p:nvSpPr>
        <p:spPr>
          <a:xfrm>
            <a:off x="8991600" y="0"/>
            <a:ext cx="3200400" cy="68580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224416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1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86743BA-D3B4-41EA-8A6C-2FD95020F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55" y="144992"/>
            <a:ext cx="10668000" cy="396875"/>
          </a:xfrm>
        </p:spPr>
        <p:txBody>
          <a:bodyPr>
            <a:normAutofit/>
          </a:bodyPr>
          <a:lstStyle>
            <a:lvl1pPr>
              <a:defRPr sz="2133" b="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3DA1D0E-1D07-42C3-A552-338386F561CF}"/>
              </a:ext>
            </a:extLst>
          </p:cNvPr>
          <p:cNvCxnSpPr/>
          <p:nvPr userDrawn="1"/>
        </p:nvCxnSpPr>
        <p:spPr>
          <a:xfrm>
            <a:off x="205155" y="541867"/>
            <a:ext cx="102357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5D064E0-9CBA-4305-893C-1E2A340E3F4A}"/>
              </a:ext>
            </a:extLst>
          </p:cNvPr>
          <p:cNvSpPr txBox="1"/>
          <p:nvPr userDrawn="1"/>
        </p:nvSpPr>
        <p:spPr>
          <a:xfrm rot="16200000">
            <a:off x="11282297" y="5948295"/>
            <a:ext cx="15424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© 2020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e:dh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:.ai</a:t>
            </a:r>
          </a:p>
        </p:txBody>
      </p:sp>
    </p:spTree>
    <p:extLst>
      <p:ext uri="{BB962C8B-B14F-4D97-AF65-F5344CB8AC3E}">
        <p14:creationId xmlns:p14="http://schemas.microsoft.com/office/powerpoint/2010/main" val="1297188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A87C45-C217-4B3C-9633-17AC387495A2}"/>
              </a:ext>
            </a:extLst>
          </p:cNvPr>
          <p:cNvSpPr/>
          <p:nvPr userDrawn="1"/>
        </p:nvSpPr>
        <p:spPr>
          <a:xfrm>
            <a:off x="0" y="0"/>
            <a:ext cx="3657600" cy="68580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718671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1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0"/>
          </p:nvPr>
        </p:nvSpPr>
        <p:spPr>
          <a:xfrm>
            <a:off x="108722" y="6518274"/>
            <a:ext cx="876300" cy="271993"/>
          </a:xfrm>
        </p:spPr>
        <p:txBody>
          <a:bodyPr/>
          <a:lstStyle>
            <a:lvl1pPr>
              <a:defRPr sz="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9A71657B-2E7A-4DC9-A23D-AC9485FEC8B3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04325" y="6519334"/>
            <a:ext cx="10452679" cy="271993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45134" y="6518274"/>
            <a:ext cx="374073" cy="271993"/>
          </a:xfrm>
        </p:spPr>
        <p:txBody>
          <a:bodyPr/>
          <a:lstStyle>
            <a:lvl1pPr algn="ctr">
              <a:defRPr sz="933" b="0" i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162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0627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10971090"/>
              </p:ext>
            </p:extLst>
          </p:nvPr>
        </p:nvGraphicFramePr>
        <p:xfrm>
          <a:off x="662" y="663"/>
          <a:ext cx="661" cy="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258"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662" y="663"/>
                        <a:ext cx="661" cy="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4" y="2"/>
            <a:ext cx="66145" cy="66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Bookman Old Style" panose="02050604050505020204" pitchFamily="18" charset="0"/>
              <a:ea typeface="+mj-ea"/>
              <a:cs typeface="+mj-cs"/>
              <a:sym typeface="Bookman Old Style" panose="02050604050505020204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8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FE15306F-1960-48AF-8CEE-C1253C2F6427}" type="datetime1">
              <a:rPr lang="en-US" smtClean="0"/>
              <a:pPr/>
              <a:t>4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1C43B0D6-116A-40B0-BB61-80544E3163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1EF372-4C0F-4941-8062-81DCE574928C}"/>
              </a:ext>
            </a:extLst>
          </p:cNvPr>
          <p:cNvSpPr txBox="1"/>
          <p:nvPr userDrawn="1"/>
        </p:nvSpPr>
        <p:spPr>
          <a:xfrm rot="16200000">
            <a:off x="11282297" y="5948295"/>
            <a:ext cx="15424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© 2020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e:dh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:.ai</a:t>
            </a:r>
          </a:p>
        </p:txBody>
      </p:sp>
    </p:spTree>
    <p:extLst>
      <p:ext uri="{BB962C8B-B14F-4D97-AF65-F5344CB8AC3E}">
        <p14:creationId xmlns:p14="http://schemas.microsoft.com/office/powerpoint/2010/main" val="1264443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699" r:id="rId3"/>
    <p:sldLayoutId id="2147483670" r:id="rId4"/>
    <p:sldLayoutId id="2147483671" r:id="rId5"/>
    <p:sldLayoutId id="2147483710" r:id="rId6"/>
    <p:sldLayoutId id="2147483706" r:id="rId7"/>
    <p:sldLayoutId id="2147483713" r:id="rId8"/>
    <p:sldLayoutId id="2147483707" r:id="rId9"/>
    <p:sldLayoutId id="2147483709" r:id="rId10"/>
    <p:sldLayoutId id="2147483700" r:id="rId11"/>
    <p:sldLayoutId id="214748371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eology.com/county-map/massachusetts.shtml" TargetMode="External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itehouse.gov/presidential-actions/proclamation-declaring-national-emergency-concerning-novel-coronavirus-disease-covid-19-outbreak/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2552627-BE16-46C9-B287-03CCE4C5F22F}"/>
              </a:ext>
            </a:extLst>
          </p:cNvPr>
          <p:cNvSpPr txBox="1"/>
          <p:nvPr/>
        </p:nvSpPr>
        <p:spPr>
          <a:xfrm>
            <a:off x="361149" y="2828835"/>
            <a:ext cx="708559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US COVID Tracker – 04/26/2020</a:t>
            </a:r>
          </a:p>
          <a:p>
            <a:r>
              <a:rPr lang="en-US" sz="2400" i="1" dirty="0" err="1">
                <a:solidFill>
                  <a:schemeClr val="accent2"/>
                </a:solidFill>
              </a:rPr>
              <a:t>me:dha</a:t>
            </a:r>
            <a:r>
              <a:rPr lang="en-US" sz="2400" i="1" dirty="0">
                <a:solidFill>
                  <a:schemeClr val="accent2"/>
                </a:solidFill>
              </a:rPr>
              <a:t>:.ai</a:t>
            </a:r>
          </a:p>
        </p:txBody>
      </p:sp>
    </p:spTree>
    <p:extLst>
      <p:ext uri="{BB962C8B-B14F-4D97-AF65-F5344CB8AC3E}">
        <p14:creationId xmlns:p14="http://schemas.microsoft.com/office/powerpoint/2010/main" val="16526640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C6CACDE-2D34-426A-BFBD-00815BC2D5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6637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– nation-w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From a nation-wide perspective, incidence count is still on the rise, albeit steadily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The peaks are showing weekly seasonality and correspond to weekends – either stats are updated each weekend or households are making milk runs over the weekend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5017560" y="2527858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6833569-D252-4513-989A-AE93B82DB100}"/>
              </a:ext>
            </a:extLst>
          </p:cNvPr>
          <p:cNvSpPr/>
          <p:nvPr/>
        </p:nvSpPr>
        <p:spPr>
          <a:xfrm>
            <a:off x="3317225" y="2256254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085CBA7-E33B-4640-BC87-61E44A3595B3}"/>
              </a:ext>
            </a:extLst>
          </p:cNvPr>
          <p:cNvCxnSpPr>
            <a:stCxn id="14" idx="4"/>
          </p:cNvCxnSpPr>
          <p:nvPr/>
        </p:nvCxnSpPr>
        <p:spPr>
          <a:xfrm>
            <a:off x="3454385" y="2527858"/>
            <a:ext cx="0" cy="1358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9CF843E-CE83-4D35-8275-A8B83DBE426A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3591545" y="2392056"/>
            <a:ext cx="211480" cy="210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BADEABD-EDBE-488A-B739-B4CAD7361195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3591545" y="2392056"/>
            <a:ext cx="773967" cy="2716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B48FFBA-D295-4E69-B7B3-95FC67A7B11B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3591545" y="2392056"/>
            <a:ext cx="12491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2103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A7FCA75-DC0E-40EC-B040-CB71DF1747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6637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– nation-w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While the rate of increase is decreasing, since the prior base is high, the incidence is still spreading at a faster clip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5088443" y="4562221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22106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54AA10-9C00-4718-B6D5-DD4E59CE8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C32375-C27C-4287-B5A7-663FB1357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Breakdown by sta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56CB55-A975-4982-8A62-D5D9A49F47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381" y="794414"/>
            <a:ext cx="8677167" cy="572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558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87EC4AC-4A8A-40F0-AEBC-B648AE3FA2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count break-down by high-risk sta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Washington state shows most promise – cumulative case count is almost steady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The incidence spread in mass is still on the rise, showing limited signs of abatement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Illinois is showing similar trends as that of Mass’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Michigan seems to be showing signs of peak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alifornia seems to be showing some resurgenc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4535551" y="4427542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BF14B7F-9DF7-4123-848A-F70CBA4EBF62}"/>
              </a:ext>
            </a:extLst>
          </p:cNvPr>
          <p:cNvSpPr/>
          <p:nvPr/>
        </p:nvSpPr>
        <p:spPr>
          <a:xfrm>
            <a:off x="4053542" y="2329384"/>
            <a:ext cx="274320" cy="271604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477E397-11D5-4BC1-94C3-A9FE1DF91573}"/>
              </a:ext>
            </a:extLst>
          </p:cNvPr>
          <p:cNvSpPr/>
          <p:nvPr/>
        </p:nvSpPr>
        <p:spPr>
          <a:xfrm>
            <a:off x="3779222" y="4039495"/>
            <a:ext cx="274320" cy="27160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74DAF8-22D8-4969-B2FF-0BB7E4EC9A82}"/>
              </a:ext>
            </a:extLst>
          </p:cNvPr>
          <p:cNvSpPr/>
          <p:nvPr/>
        </p:nvSpPr>
        <p:spPr>
          <a:xfrm>
            <a:off x="3144813" y="3903693"/>
            <a:ext cx="274320" cy="271604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AAE2821-04F7-4EE8-B6A6-9BBE7EF73AA3}"/>
              </a:ext>
            </a:extLst>
          </p:cNvPr>
          <p:cNvSpPr/>
          <p:nvPr/>
        </p:nvSpPr>
        <p:spPr>
          <a:xfrm>
            <a:off x="3828841" y="3304503"/>
            <a:ext cx="274320" cy="271604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367482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2E07685-A826-4735-809B-F10FBDF58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4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break-down by high-risk sta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Washington state shows most promise – increase is more-or-less in check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In Mass, the incidence increase is still on a faster clip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Illinois is showing similar trends as that of Mass’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Michigan seems to be showing signs of peak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alifornia seems to be showing some resurgenc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4515554" y="4952082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BF14B7F-9DF7-4123-848A-F70CBA4EBF62}"/>
              </a:ext>
            </a:extLst>
          </p:cNvPr>
          <p:cNvSpPr/>
          <p:nvPr/>
        </p:nvSpPr>
        <p:spPr>
          <a:xfrm>
            <a:off x="4515554" y="3568774"/>
            <a:ext cx="274320" cy="271604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477E397-11D5-4BC1-94C3-A9FE1DF91573}"/>
              </a:ext>
            </a:extLst>
          </p:cNvPr>
          <p:cNvSpPr/>
          <p:nvPr/>
        </p:nvSpPr>
        <p:spPr>
          <a:xfrm>
            <a:off x="4515554" y="3903693"/>
            <a:ext cx="274320" cy="27160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774DAF8-22D8-4969-B2FF-0BB7E4EC9A82}"/>
              </a:ext>
            </a:extLst>
          </p:cNvPr>
          <p:cNvSpPr/>
          <p:nvPr/>
        </p:nvSpPr>
        <p:spPr>
          <a:xfrm>
            <a:off x="4515554" y="4569670"/>
            <a:ext cx="274320" cy="271604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AAE2821-04F7-4EE8-B6A6-9BBE7EF73AA3}"/>
              </a:ext>
            </a:extLst>
          </p:cNvPr>
          <p:cNvSpPr/>
          <p:nvPr/>
        </p:nvSpPr>
        <p:spPr>
          <a:xfrm>
            <a:off x="4515554" y="4220659"/>
            <a:ext cx="274320" cy="271604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80664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311C3B-E7CD-4318-8166-CB0A55A54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497ABF-B557-4DCC-B304-FAAE7E557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unties in Massachusetts</a:t>
            </a:r>
          </a:p>
        </p:txBody>
      </p:sp>
      <p:pic>
        <p:nvPicPr>
          <p:cNvPr id="422916" name="Picture 4" descr="Massachusetts County Map">
            <a:extLst>
              <a:ext uri="{FF2B5EF4-FFF2-40B4-BE49-F238E27FC236}">
                <a16:creationId xmlns:a16="http://schemas.microsoft.com/office/drawing/2014/main" id="{59892954-AF2F-43EB-91F7-136476504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55" y="634027"/>
            <a:ext cx="10732203" cy="5967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C7D8C25-0B7D-47AF-B7CC-9CD67D5A9B4A}"/>
              </a:ext>
            </a:extLst>
          </p:cNvPr>
          <p:cNvSpPr/>
          <p:nvPr/>
        </p:nvSpPr>
        <p:spPr>
          <a:xfrm>
            <a:off x="113414" y="6601132"/>
            <a:ext cx="39411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eology.com/county-map/massachusetts.shtml</a:t>
            </a:r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6356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4D26D2C-2D0A-4055-BF5D-4DCF79DBF6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by counties in Massachuset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ounties at most risk - Middlesex, Suffolk, Essex, Norfolk and Worcester</a:t>
            </a:r>
          </a:p>
        </p:txBody>
      </p:sp>
    </p:spTree>
    <p:extLst>
      <p:ext uri="{BB962C8B-B14F-4D97-AF65-F5344CB8AC3E}">
        <p14:creationId xmlns:p14="http://schemas.microsoft.com/office/powerpoint/2010/main" val="34628858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4C2988E-D29D-47D8-BFFB-404DC75C7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rates by counties in Massachuset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Densely populated counties (Suffolk &amp; Essex) have the highest incidence rates</a:t>
            </a:r>
          </a:p>
        </p:txBody>
      </p:sp>
    </p:spTree>
    <p:extLst>
      <p:ext uri="{BB962C8B-B14F-4D97-AF65-F5344CB8AC3E}">
        <p14:creationId xmlns:p14="http://schemas.microsoft.com/office/powerpoint/2010/main" val="14793893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DB3982-C4E6-4D83-818E-2BAA79810F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by counties in Massachuset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ounties at most risk - Middlesex, Suffolk, Essex, Norfolk and Worcester</a:t>
            </a:r>
          </a:p>
        </p:txBody>
      </p:sp>
    </p:spTree>
    <p:extLst>
      <p:ext uri="{BB962C8B-B14F-4D97-AF65-F5344CB8AC3E}">
        <p14:creationId xmlns:p14="http://schemas.microsoft.com/office/powerpoint/2010/main" val="32491786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3A42C74-71BF-43A5-9EDA-2FB5C57000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by select counties in Massachuset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Incidence increases are similar in Middlesex &amp; in Suffolk counties</a:t>
            </a:r>
          </a:p>
        </p:txBody>
      </p:sp>
    </p:spTree>
    <p:extLst>
      <p:ext uri="{BB962C8B-B14F-4D97-AF65-F5344CB8AC3E}">
        <p14:creationId xmlns:p14="http://schemas.microsoft.com/office/powerpoint/2010/main" val="3589534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umma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34CECB-3D22-453C-8A5C-509A77CE3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5" y="619273"/>
            <a:ext cx="8785746" cy="589900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In ~2 months (56 days) into the pandemic, US has close to 1M COVID19 incidences and ~54 K death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3694625" y="4133759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41B27C-C461-491A-9DD5-CBFB2563B2BB}"/>
              </a:ext>
            </a:extLst>
          </p:cNvPr>
          <p:cNvCxnSpPr/>
          <p:nvPr/>
        </p:nvCxnSpPr>
        <p:spPr>
          <a:xfrm>
            <a:off x="3322622" y="3550665"/>
            <a:ext cx="0" cy="1437793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  <a:endCxn id="7" idx="2"/>
          </p:cNvCxnSpPr>
          <p:nvPr/>
        </p:nvCxnSpPr>
        <p:spPr>
          <a:xfrm>
            <a:off x="3322622" y="4269561"/>
            <a:ext cx="372003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36082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0D0ED0-14C1-4D1A-8ED0-F3D4E478A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4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by select counties in Massachuset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Incidence increases in Norfolk and Worcester counties are very similar, albeit at a much slower clip than that in Middlesex and Suffolk counties</a:t>
            </a:r>
          </a:p>
        </p:txBody>
      </p:sp>
    </p:spTree>
    <p:extLst>
      <p:ext uri="{BB962C8B-B14F-4D97-AF65-F5344CB8AC3E}">
        <p14:creationId xmlns:p14="http://schemas.microsoft.com/office/powerpoint/2010/main" val="2147952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A1645F5D-7CAD-466A-9ABD-5781296680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5" y="619273"/>
            <a:ext cx="8785746" cy="589900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umulative high incidence states (04/25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The state of mass is #3 from an incidence count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The sates of California, Illinois, Pennsylvania and Michigan are next highest in terms of incidence rate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3377304" y="2665794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</p:cNvCxnSpPr>
          <p:nvPr/>
        </p:nvCxnSpPr>
        <p:spPr>
          <a:xfrm>
            <a:off x="2290889" y="2654478"/>
            <a:ext cx="1086415" cy="1471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43ABD28C-67DA-4AF1-9435-B1890BBFB984}"/>
              </a:ext>
            </a:extLst>
          </p:cNvPr>
          <p:cNvSpPr/>
          <p:nvPr/>
        </p:nvSpPr>
        <p:spPr>
          <a:xfrm>
            <a:off x="2530334" y="2937398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AA10E1D-CE6E-4B96-BEF3-4682AE3C261A}"/>
              </a:ext>
            </a:extLst>
          </p:cNvPr>
          <p:cNvCxnSpPr>
            <a:cxnSpLocks/>
          </p:cNvCxnSpPr>
          <p:nvPr/>
        </p:nvCxnSpPr>
        <p:spPr>
          <a:xfrm>
            <a:off x="2158332" y="2737671"/>
            <a:ext cx="0" cy="583094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6E367D-3205-44EA-942E-53DB8C450257}"/>
              </a:ext>
            </a:extLst>
          </p:cNvPr>
          <p:cNvCxnSpPr>
            <a:cxnSpLocks/>
            <a:endCxn id="16" idx="2"/>
          </p:cNvCxnSpPr>
          <p:nvPr/>
        </p:nvCxnSpPr>
        <p:spPr>
          <a:xfrm>
            <a:off x="2197128" y="3004750"/>
            <a:ext cx="333206" cy="6845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35868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2A0D509-194B-4BE0-8AF2-19A385FD2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4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daily increase from 04/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The incidence daily increase in state of Mass is still high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3514465" y="2675848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</p:cNvCxnSpPr>
          <p:nvPr/>
        </p:nvCxnSpPr>
        <p:spPr>
          <a:xfrm>
            <a:off x="2428050" y="2664532"/>
            <a:ext cx="1086415" cy="1471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089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49214DC-A324-4F9F-9B8B-EBFC604273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4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rate (incidences / 100 K population) from 04/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Even from an incidence rate perspective, the state of Mass ranks very high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4637095" y="2503833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</p:cNvCxnSpPr>
          <p:nvPr/>
        </p:nvCxnSpPr>
        <p:spPr>
          <a:xfrm>
            <a:off x="3550680" y="2492517"/>
            <a:ext cx="1086415" cy="1471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184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625A4CF-1264-4F2D-AAEA-050D6251C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4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umulative deaths 04/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Deaths in the state of Mass are high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3514465" y="2675848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</p:cNvCxnSpPr>
          <p:nvPr/>
        </p:nvCxnSpPr>
        <p:spPr>
          <a:xfrm>
            <a:off x="2091350" y="2811650"/>
            <a:ext cx="142311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468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E9EB7CB-626C-4ED0-938D-50E1B9C03F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ath rate - 04/2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Death rate in Mass is relatively low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3831336" y="3798478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</p:cNvCxnSpPr>
          <p:nvPr/>
        </p:nvCxnSpPr>
        <p:spPr>
          <a:xfrm>
            <a:off x="2408221" y="3934280"/>
            <a:ext cx="142311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5197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D89A210-ABAD-4CE3-8B21-D3FCA4A01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4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counts nation-w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accent2"/>
                </a:solidFill>
              </a:rPr>
              <a:t>National emergency</a:t>
            </a:r>
            <a:r>
              <a:rPr lang="en-US" sz="1400" dirty="0">
                <a:solidFill>
                  <a:schemeClr val="bg1"/>
                </a:solidFill>
              </a:rPr>
              <a:t> was declared on </a:t>
            </a:r>
            <a:r>
              <a:rPr lang="en-US" sz="1400" dirty="0">
                <a:solidFill>
                  <a:schemeClr val="accent2"/>
                </a:solidFill>
              </a:rPr>
              <a:t>03/13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Nation wide stats (03/13)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Incidence 	= </a:t>
            </a:r>
            <a:r>
              <a:rPr lang="en-US" sz="1400" dirty="0">
                <a:solidFill>
                  <a:schemeClr val="accent2"/>
                </a:solidFill>
              </a:rPr>
              <a:t>2 K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Deaths 	= </a:t>
            </a:r>
            <a:r>
              <a:rPr lang="en-US" sz="1400" dirty="0">
                <a:solidFill>
                  <a:schemeClr val="accent2"/>
                </a:solidFill>
              </a:rPr>
              <a:t>53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Death rate 	= 0.14%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Days	= 0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CDGR	= 0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Nation wide stats (04/25)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Incidence 	= </a:t>
            </a:r>
            <a:r>
              <a:rPr lang="en-US" sz="1400" dirty="0">
                <a:solidFill>
                  <a:schemeClr val="accent2"/>
                </a:solidFill>
              </a:rPr>
              <a:t>938 K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Deaths 	= </a:t>
            </a:r>
            <a:r>
              <a:rPr lang="en-US" sz="1400" dirty="0">
                <a:solidFill>
                  <a:schemeClr val="accent2"/>
                </a:solidFill>
              </a:rPr>
              <a:t>54 K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Death rate 	= 5.73%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Days	= 43</a:t>
            </a:r>
          </a:p>
          <a:p>
            <a:pPr marL="569913" lvl="1" indent="-225425">
              <a:buFont typeface="Arial" panose="020B0604020202020204" pitchFamily="34" charset="0"/>
              <a:buChar char="•"/>
              <a:tabLst>
                <a:tab pos="1711325" algn="l"/>
              </a:tabLst>
            </a:pPr>
            <a:r>
              <a:rPr lang="en-US" sz="1400" dirty="0">
                <a:solidFill>
                  <a:schemeClr val="bg1"/>
                </a:solidFill>
              </a:rPr>
              <a:t>CDGR	= 15.3%</a:t>
            </a:r>
          </a:p>
          <a:p>
            <a:pPr marL="344488" lvl="1">
              <a:tabLst>
                <a:tab pos="1711325" algn="l"/>
              </a:tabLst>
            </a:pPr>
            <a:endParaRPr lang="en-US" sz="1400" dirty="0">
              <a:solidFill>
                <a:schemeClr val="bg1"/>
              </a:solidFill>
            </a:endParaRPr>
          </a:p>
          <a:p>
            <a:pPr indent="-112701">
              <a:tabLst>
                <a:tab pos="1711325" algn="l"/>
              </a:tabLst>
            </a:pPr>
            <a:r>
              <a:rPr lang="en-US" sz="1100" dirty="0">
                <a:solidFill>
                  <a:schemeClr val="bg1"/>
                </a:solidFill>
              </a:rPr>
              <a:t>CDGR = Cumulative Daily Growth Rate = 16.6 % or doubling in </a:t>
            </a:r>
            <a:r>
              <a:rPr lang="en-US" sz="1100" dirty="0">
                <a:solidFill>
                  <a:schemeClr val="accent2"/>
                </a:solidFill>
              </a:rPr>
              <a:t>incidence in roughly 4.7 day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1927030" y="4370835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  <a:endCxn id="7" idx="4"/>
          </p:cNvCxnSpPr>
          <p:nvPr/>
        </p:nvCxnSpPr>
        <p:spPr>
          <a:xfrm flipV="1">
            <a:off x="2064190" y="4642439"/>
            <a:ext cx="0" cy="43655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6A040511-EF2B-4F73-BB59-19344FC9F9F6}"/>
              </a:ext>
            </a:extLst>
          </p:cNvPr>
          <p:cNvSpPr/>
          <p:nvPr/>
        </p:nvSpPr>
        <p:spPr>
          <a:xfrm>
            <a:off x="4315636" y="2377564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0E4C42-DD37-451D-B8F8-E2C15AB7B13D}"/>
              </a:ext>
            </a:extLst>
          </p:cNvPr>
          <p:cNvCxnSpPr>
            <a:cxnSpLocks/>
            <a:endCxn id="11" idx="6"/>
          </p:cNvCxnSpPr>
          <p:nvPr/>
        </p:nvCxnSpPr>
        <p:spPr>
          <a:xfrm flipH="1">
            <a:off x="4589956" y="2444436"/>
            <a:ext cx="344183" cy="6893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90E52F5C-B07C-4F0C-95E9-6220C6E62791}"/>
              </a:ext>
            </a:extLst>
          </p:cNvPr>
          <p:cNvSpPr/>
          <p:nvPr/>
        </p:nvSpPr>
        <p:spPr>
          <a:xfrm>
            <a:off x="124490" y="6557432"/>
            <a:ext cx="96858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hitehouse.gov/presidential-actions/proclamation-declaring-national-emergency-concerning-novel-coronavirus-disease-covid-19-outbreak/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4010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D33FC99-E22D-4C7F-9646-B3EBFEEC8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53" y="619273"/>
            <a:ext cx="8785745" cy="5899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EFCF7E-6667-458C-A238-11AC87AB2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3B0D6-116A-40B0-BB61-80544E3163B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8908A4-A121-417E-AE4B-4A1895CAF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cidence counts (actuals vs. predicted) nation-w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780C11-0246-4242-BD4E-C14A8900326B}"/>
              </a:ext>
            </a:extLst>
          </p:cNvPr>
          <p:cNvSpPr txBox="1"/>
          <p:nvPr/>
        </p:nvSpPr>
        <p:spPr>
          <a:xfrm>
            <a:off x="9071572" y="619273"/>
            <a:ext cx="2915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From a nation-wide perspective, incidence spread hasn’t peaked ye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B005F0C-0B62-461C-8094-BDE9A3040BCB}"/>
              </a:ext>
            </a:extLst>
          </p:cNvPr>
          <p:cNvSpPr/>
          <p:nvPr/>
        </p:nvSpPr>
        <p:spPr>
          <a:xfrm>
            <a:off x="4039365" y="2506593"/>
            <a:ext cx="274320" cy="27160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40F819-0B2F-4A9E-9D81-BF67AD3C3283}"/>
              </a:ext>
            </a:extLst>
          </p:cNvPr>
          <p:cNvCxnSpPr>
            <a:cxnSpLocks/>
            <a:endCxn id="7" idx="6"/>
          </p:cNvCxnSpPr>
          <p:nvPr/>
        </p:nvCxnSpPr>
        <p:spPr>
          <a:xfrm flipH="1">
            <a:off x="4313685" y="2615609"/>
            <a:ext cx="215786" cy="2678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6354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jYfapNSfSB.6hie9jh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kQGPOQSWZacw0wvd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NTMgtRJGz_DZrTxTSwg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69</TotalTime>
  <Words>608</Words>
  <Application>Microsoft Office PowerPoint</Application>
  <PresentationFormat>Widescreen</PresentationFormat>
  <Paragraphs>119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Bookman Old Style</vt:lpstr>
      <vt:lpstr>Calibri</vt:lpstr>
      <vt:lpstr>Century Gothic</vt:lpstr>
      <vt:lpstr>1_Office Theme</vt:lpstr>
      <vt:lpstr>think-cell Slide</vt:lpstr>
      <vt:lpstr>PowerPoint Presentation</vt:lpstr>
      <vt:lpstr>Summary</vt:lpstr>
      <vt:lpstr>Cumulative high incidence states (04/25)</vt:lpstr>
      <vt:lpstr>Incidence daily increase from 04/24</vt:lpstr>
      <vt:lpstr>Incidence rate (incidences / 100 K population) from 04/24</vt:lpstr>
      <vt:lpstr>Cumulative deaths 04/25</vt:lpstr>
      <vt:lpstr>Death rate - 04/25</vt:lpstr>
      <vt:lpstr>Incidence counts nation-wide</vt:lpstr>
      <vt:lpstr>Incidence counts (actuals vs. predicted) nation-wide</vt:lpstr>
      <vt:lpstr>Incidence daily increase – nation-wide</vt:lpstr>
      <vt:lpstr>Incidence daily increase – nation-wide</vt:lpstr>
      <vt:lpstr>Breakdown by states</vt:lpstr>
      <vt:lpstr>Incidence count break-down by high-risk states</vt:lpstr>
      <vt:lpstr>Incidence daily increase break-down by high-risk states</vt:lpstr>
      <vt:lpstr>Counties in Massachusetts</vt:lpstr>
      <vt:lpstr>Incidence by counties in Massachusetts</vt:lpstr>
      <vt:lpstr>Incidence rates by counties in Massachusetts</vt:lpstr>
      <vt:lpstr>Incidence daily increase by counties in Massachusetts</vt:lpstr>
      <vt:lpstr>Incidence daily increase by select counties in Massachusetts</vt:lpstr>
      <vt:lpstr>Incidence daily increase by select counties in Massachusetts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lla, Vishwa</dc:creator>
  <cp:lastModifiedBy>Vishwa Kolla</cp:lastModifiedBy>
  <cp:revision>3949</cp:revision>
  <dcterms:created xsi:type="dcterms:W3CDTF">2019-01-26T18:14:04Z</dcterms:created>
  <dcterms:modified xsi:type="dcterms:W3CDTF">2020-04-26T10:31:38Z</dcterms:modified>
</cp:coreProperties>
</file>